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7"/>
  </p:notesMasterIdLst>
  <p:sldIdLst>
    <p:sldId id="1624" r:id="rId3"/>
    <p:sldId id="4518" r:id="rId4"/>
    <p:sldId id="4519" r:id="rId5"/>
    <p:sldId id="4472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00FF00"/>
    <a:srgbClr val="D31145"/>
    <a:srgbClr val="FF33CC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4641" autoAdjust="0"/>
  </p:normalViewPr>
  <p:slideViewPr>
    <p:cSldViewPr snapToGrid="0">
      <p:cViewPr varScale="1">
        <p:scale>
          <a:sx n="98" d="100"/>
          <a:sy n="98" d="100"/>
        </p:scale>
        <p:origin x="660" y="90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12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6.12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6. 12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92706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6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7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6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907717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8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4344773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3142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5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2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098174"/>
              </p:ext>
            </p:extLst>
          </p:nvPr>
        </p:nvGraphicFramePr>
        <p:xfrm>
          <a:off x="4201824" y="1082564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7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6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5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3142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1029174"/>
              </p:ext>
            </p:extLst>
          </p:nvPr>
        </p:nvGraphicFramePr>
        <p:xfrm>
          <a:off x="114130" y="1087466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9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0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3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1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97904541"/>
              </p:ext>
            </p:extLst>
          </p:nvPr>
        </p:nvGraphicFramePr>
        <p:xfrm>
          <a:off x="8289518" y="1094515"/>
          <a:ext cx="3749708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461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405093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0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4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5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4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1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3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289518" y="4945671"/>
            <a:ext cx="3872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01</TotalTime>
  <Words>1366</Words>
  <Application>Microsoft Office PowerPoint</Application>
  <PresentationFormat>Širokoúhlá obrazovka</PresentationFormat>
  <Paragraphs>308</Paragraphs>
  <Slides>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4</vt:i4>
      </vt:variant>
    </vt:vector>
  </HeadingPairs>
  <TitlesOfParts>
    <vt:vector size="10" baseType="lpstr">
      <vt:lpstr>Arial</vt:lpstr>
      <vt:lpstr>Arial Black</vt:lpstr>
      <vt:lpstr>Calibri</vt:lpstr>
      <vt:lpstr>Calibri Light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91</cp:revision>
  <dcterms:created xsi:type="dcterms:W3CDTF">2020-03-16T10:06:11Z</dcterms:created>
  <dcterms:modified xsi:type="dcterms:W3CDTF">2021-12-06T20:40:10Z</dcterms:modified>
</cp:coreProperties>
</file>